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3" saveSubsetFonts="1" autoCompressPictures="0">
  <p:sldMasterIdLst>
    <p:sldMasterId id="2147483648" r:id="rId1"/>
  </p:sldMasterIdLst>
  <p:notesMasterIdLst>
    <p:notesMasterId r:id="rId4"/>
  </p:notesMasterIdLst>
  <p:sldIdLst>
    <p:sldId id="256" r:id="rId2"/>
    <p:sldId id="302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Marcel Untied" initials="MU" lastIdx="35" clrIdx="0">
    <p:extLst>
      <p:ext uri="{19B8F6BF-5375-455C-9EA6-DF929625EA0E}">
        <p15:presenceInfo xmlns:p15="http://schemas.microsoft.com/office/powerpoint/2012/main" userId="Marcel Untied" providerId="None"/>
      </p:ext>
    </p:extLst>
  </p:cmAuthor>
  <p:cmAuthor id="3" name="Marchien van Doorn" initials="MvD" lastIdx="1" clrIdx="1">
    <p:extLst>
      <p:ext uri="{19B8F6BF-5375-455C-9EA6-DF929625EA0E}">
        <p15:presenceInfo xmlns:p15="http://schemas.microsoft.com/office/powerpoint/2012/main" userId="Marchien van Door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A4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Stijl, gemiddeld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84651" autoAdjust="0"/>
  </p:normalViewPr>
  <p:slideViewPr>
    <p:cSldViewPr snapToGrid="0" snapToObjects="1">
      <p:cViewPr varScale="1">
        <p:scale>
          <a:sx n="97" d="100"/>
          <a:sy n="97" d="100"/>
        </p:scale>
        <p:origin x="1776" y="90"/>
      </p:cViewPr>
      <p:guideLst/>
    </p:cSldViewPr>
  </p:slideViewPr>
  <p:outlineViewPr>
    <p:cViewPr>
      <p:scale>
        <a:sx n="33" d="100"/>
        <a:sy n="33" d="100"/>
      </p:scale>
      <p:origin x="0" y="-762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8E25D-CC19-0743-9F86-E0DCA3386663}" type="datetimeFigureOut">
              <a:rPr lang="en-US" smtClean="0"/>
              <a:t>12/1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39CA00-AB0D-A540-8ABF-87C7F2603E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727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39CA00-AB0D-A540-8ABF-87C7F2603E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159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0B3B4-F971-4AD3-B530-DE860EFC07D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5222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274F226-D881-3046-B228-FABB65E60051}"/>
              </a:ext>
            </a:extLst>
          </p:cNvPr>
          <p:cNvSpPr/>
          <p:nvPr userDrawn="1"/>
        </p:nvSpPr>
        <p:spPr>
          <a:xfrm>
            <a:off x="469900" y="1231900"/>
            <a:ext cx="5409692" cy="520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48FD27-B926-B34E-AA5C-72365A3C3987}"/>
              </a:ext>
            </a:extLst>
          </p:cNvPr>
          <p:cNvSpPr/>
          <p:nvPr userDrawn="1"/>
        </p:nvSpPr>
        <p:spPr>
          <a:xfrm>
            <a:off x="5376672" y="0"/>
            <a:ext cx="6815328" cy="6858000"/>
          </a:xfrm>
          <a:prstGeom prst="rect">
            <a:avLst/>
          </a:prstGeom>
          <a:solidFill>
            <a:srgbClr val="13A4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679FDDB-B3A8-9E4B-A51D-21AFEFFBD8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606" t="33281" b="3513"/>
          <a:stretch/>
        </p:blipFill>
        <p:spPr>
          <a:xfrm>
            <a:off x="5219700" y="0"/>
            <a:ext cx="25810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02C08FE-B92E-8847-8A38-464C902BE9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9592" y="1863027"/>
            <a:ext cx="5199888" cy="1895157"/>
          </a:xfrm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04A117-2F64-C349-B431-99271F5EBF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9592" y="4342702"/>
            <a:ext cx="5199888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3324D2-29E2-024E-AD15-55C56F9D12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4574" y="1014984"/>
            <a:ext cx="3707245" cy="4343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ECD433-B355-2042-AE60-B9B6A657385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5400000">
            <a:off x="8467885" y="1327690"/>
            <a:ext cx="95588" cy="5127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456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7ABD7-297E-AA41-AD61-094BB23F2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BF8EE6-90AD-B04D-B250-59027778A9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791C6D-9A1D-B74E-AC6B-E82BC9FD09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F65653-DD29-A34F-A5F3-8261CEED76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E4107F-BA10-8C41-A51A-480FE85FA6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01B490-E3D3-6F46-A68E-19089F39C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228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38EA92-168E-644D-921C-D1B1FA8C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D45F163-BDDD-F243-A62E-DFE123D8F6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3F1036-97A1-AB43-AC49-9E9078B5CD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C2512D-4C28-F044-A48E-5DC1DEFF09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267FF3-1EA8-404C-8792-D5C9D58F9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C0E6C4-AF7C-044C-AEDC-69D34C339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4094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869D0E-F9A1-4642-B02C-F8DE9EB47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B5A892-9529-F84C-8414-0075EE9993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1D70FB-DCC9-4E49-AFA5-816D766003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DECB9-83F4-2C42-AB7C-09EB3EBDC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5D353C-5A14-7D46-AAD8-E49CBDB057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9512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559340-4CF8-9B40-AA50-50FF264F8A3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DDFF84-0775-7F4F-87E7-BC2CD83CC5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1553DF-A818-0548-BE3D-3E29B17D77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E29AAF-17B3-9C4B-B80C-6F1DAD1DD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FDF81-A7BA-DA43-AC58-67E49ABAF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2524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8" y="1713720"/>
            <a:ext cx="11320213" cy="428743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5898" y="856863"/>
            <a:ext cx="11320213" cy="571763"/>
          </a:xfrm>
        </p:spPr>
        <p:txBody>
          <a:bodyPr/>
          <a:lstStyle>
            <a:lvl1pPr marL="0" indent="0">
              <a:buFontTx/>
              <a:buNone/>
              <a:defRPr sz="1563">
                <a:solidFill>
                  <a:srgbClr val="19709E"/>
                </a:solidFill>
              </a:defRPr>
            </a:lvl1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5898" y="357556"/>
            <a:ext cx="11320213" cy="499307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782"/>
            </a:lvl1pPr>
          </a:lstStyle>
          <a:p>
            <a:r>
              <a:rPr lang="en-US"/>
              <a:t>April XX, 2020</a:t>
            </a:r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782"/>
            </a:lvl1pPr>
          </a:lstStyle>
          <a:p>
            <a:r>
              <a:rPr lang="en-US"/>
              <a:t>Integration progress report: Project NN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782"/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77258581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274F226-D881-3046-B228-FABB65E60051}"/>
              </a:ext>
            </a:extLst>
          </p:cNvPr>
          <p:cNvSpPr/>
          <p:nvPr userDrawn="1"/>
        </p:nvSpPr>
        <p:spPr>
          <a:xfrm>
            <a:off x="469900" y="1231900"/>
            <a:ext cx="5409692" cy="520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3324D2-29E2-024E-AD15-55C56F9D1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5074" y="1231900"/>
            <a:ext cx="3707245" cy="4343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ECD433-B355-2042-AE60-B9B6A65738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5400000">
            <a:off x="8467885" y="1327690"/>
            <a:ext cx="95588" cy="51276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233936D-0B94-2047-8705-896F64401A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flipH="1">
            <a:off x="5515574" y="1041400"/>
            <a:ext cx="88072" cy="47244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0770007-84FE-3C4F-90EA-4FF49D5E7201}"/>
              </a:ext>
            </a:extLst>
          </p:cNvPr>
          <p:cNvSpPr/>
          <p:nvPr userDrawn="1"/>
        </p:nvSpPr>
        <p:spPr>
          <a:xfrm>
            <a:off x="5777992" y="1278508"/>
            <a:ext cx="6414008" cy="5579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2C08FE-B92E-8847-8A38-464C902BE9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4766" y="1925235"/>
            <a:ext cx="5199888" cy="1895157"/>
          </a:xfrm>
        </p:spPr>
        <p:txBody>
          <a:bodyPr anchor="t">
            <a:normAutofit/>
          </a:bodyPr>
          <a:lstStyle>
            <a:lvl1pPr algn="l">
              <a:defRPr sz="5400" b="1">
                <a:solidFill>
                  <a:srgbClr val="13A438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04A117-2F64-C349-B431-99271F5EBF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4766" y="3985893"/>
            <a:ext cx="5199888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5845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B2956-A94A-4741-B6CD-191FA73F6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3A1865-CFCE-034B-A8E6-5E4EF32EE4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FE2CE94-E821-2949-B36C-0AF86FB1D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7315200" cy="365125"/>
          </a:xfrm>
        </p:spPr>
        <p:txBody>
          <a:bodyPr/>
          <a:lstStyle>
            <a:lvl1pPr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err="1"/>
              <a:t>zxcz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E0F19E0-DB88-1249-BF61-764B0DD14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964DDCB6-BA15-E147-983C-6EB0A6C5679F}" type="slidenum">
              <a:rPr lang="en-US" smtClean="0"/>
              <a:pPr algn="r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073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F1FE7B-3AF3-1B47-BD19-5879DED3DB32}"/>
              </a:ext>
            </a:extLst>
          </p:cNvPr>
          <p:cNvSpPr/>
          <p:nvPr userDrawn="1"/>
        </p:nvSpPr>
        <p:spPr>
          <a:xfrm>
            <a:off x="7682669" y="2495372"/>
            <a:ext cx="4509331" cy="4362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C55D99-5DB9-4D43-BC23-B241987830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531" b="13232"/>
          <a:stretch/>
        </p:blipFill>
        <p:spPr>
          <a:xfrm>
            <a:off x="8980206" y="5398480"/>
            <a:ext cx="3211794" cy="145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BB2956-A94A-4741-B6CD-191FA73F6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3A1865-CFCE-034B-A8E6-5E4EF32EE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6">
            <a:extLst>
              <a:ext uri="{FF2B5EF4-FFF2-40B4-BE49-F238E27FC236}">
                <a16:creationId xmlns:a16="http://schemas.microsoft.com/office/drawing/2014/main" id="{54B4B318-F93E-D049-81FB-B3564EABC5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BB8A6F34-0F03-E945-973B-687DB2215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28891D6A-3FF4-E14B-B0A3-40AAF5B8C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407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D7DE8-86C2-2849-8118-A5AE3FF72D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578609-D1DE-7449-8928-0C778C610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39FBE0-3D73-7A4B-9EED-2C0DE9A154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60AA26-3FD9-DB47-9D73-397A56EF0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83A8B1-F8F9-084F-ACC4-99530A3AC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598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A5396-2EE0-9D43-A0C0-65F4ECE3E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C8F566-1EBA-2142-ADAE-33794AA78C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4D43E9-F5AB-C242-8BDE-901834C25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D9D229-87AA-B746-A130-610101688A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CCE91B-29EC-6841-8A0C-1117A0AF6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FE2790-FD58-924B-BD8E-5EB88BAC4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166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F1C6E-93B8-2040-BE8E-3968D3076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84C70-7131-BF4D-8416-A2CEDA106D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4EFAA-A415-F841-AD31-75D39B4200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EF8DE4-14B1-C448-9269-CB5A0C9F39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ACA3FF-B84E-3B4E-9FB1-0A0B42B1D6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90C356-0213-4D48-BC48-949714A94C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C341341-FD58-054E-9F44-D49493368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A2AB63-3745-0D44-B603-D1A59788A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414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A3F46A-2F91-6744-8E83-E761C65A9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42A157-2A5C-AE40-9297-FEB40C9056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BA7436-F11B-2348-94FA-5A643FF61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0E5975-1599-854C-A982-E441784EF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929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E21EC99-78FC-F348-AF67-EBDC9F0223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D22ADD-7965-F143-AE92-C502E9FA0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9D0D7D-F628-E546-AD76-13FEECFE1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907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D0A171F-C1EA-8E4D-B21E-41AC62D86A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alphaModFix amt="33000"/>
          </a:blip>
          <a:srcRect r="40118" b="37154"/>
          <a:stretch/>
        </p:blipFill>
        <p:spPr>
          <a:xfrm>
            <a:off x="8305800" y="3213099"/>
            <a:ext cx="3886200" cy="364490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D77504-D5A4-014F-80E1-7326E2286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E5A472-9736-B348-A3FB-F6EE95E00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3B353C-DDF1-DD45-8222-C40AEAA6B137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6066736" y="-3750364"/>
            <a:ext cx="58528" cy="105156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5EE2E1-9E1D-2A4E-AD01-7E8008A38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7315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err="1"/>
              <a:t>zxczc</a:t>
            </a:r>
            <a:endParaRPr lang="en-US" dirty="0"/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58D9228C-87DD-9E43-ACB9-F8CB98010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64DDCB6-BA15-E147-983C-6EB0A6C5679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84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2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stichtingsem/pilot-phase/blob/main/Project%20Team/Meeting-4-December.md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DF8D66-8826-9C43-B598-5384836EC0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9591" y="2794053"/>
            <a:ext cx="5945264" cy="1179431"/>
          </a:xfrm>
        </p:spPr>
        <p:txBody>
          <a:bodyPr>
            <a:normAutofit/>
          </a:bodyPr>
          <a:lstStyle/>
          <a:p>
            <a:r>
              <a:rPr lang="en-GB" sz="4000" dirty="0" smtClean="0"/>
              <a:t>Update Steering Committee</a:t>
            </a:r>
            <a:endParaRPr lang="en-GB" sz="4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2D0C66-DF44-6747-B44F-778AF7B2A6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9592" y="4342702"/>
            <a:ext cx="5458968" cy="1655762"/>
          </a:xfrm>
        </p:spPr>
        <p:txBody>
          <a:bodyPr/>
          <a:lstStyle/>
          <a:p>
            <a:r>
              <a:rPr lang="en-GB" dirty="0" smtClean="0"/>
              <a:t>11-12-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037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E99D97-A638-47DE-A732-CBA6FA552D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32356" y="54271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226" imgH="225" progId="TCLayout.ActiveDocument.1">
                  <p:embed/>
                </p:oleObj>
              </mc:Choice>
              <mc:Fallback>
                <p:oleObj name="think-cell Slide" r:id="rId6" imgW="226" imgH="22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E99D97-A638-47DE-A732-CBA6FA552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32356" y="54271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5C6827F-9681-44E4-A9AD-BC57A9E451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30805" y="52721"/>
            <a:ext cx="155088" cy="155088"/>
          </a:xfrm>
          <a:prstGeom prst="rect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07268">
              <a:defRPr/>
            </a:pPr>
            <a:endParaRPr lang="en-GB" sz="977" dirty="0">
              <a:solidFill>
                <a:prstClr val="white"/>
              </a:solidFill>
              <a:latin typeface="The Message"/>
              <a:sym typeface="The Message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BD77CF-DF3E-4FD8-8C14-C8F80F1B38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22503" y="6638776"/>
            <a:ext cx="424867" cy="142177"/>
          </a:xfrm>
        </p:spPr>
        <p:txBody>
          <a:bodyPr/>
          <a:lstStyle/>
          <a:p>
            <a:pPr defTabSz="907268">
              <a:defRPr/>
            </a:pPr>
            <a:fld id="{8BA1D61E-DCAC-4F3F-A9E2-B5195B305580}" type="slidenum">
              <a:rPr lang="fi-FI">
                <a:latin typeface="The Message"/>
              </a:rPr>
              <a:pPr defTabSz="907268">
                <a:defRPr/>
              </a:pPr>
              <a:t>4</a:t>
            </a:fld>
            <a:endParaRPr lang="fi-FI" dirty="0">
              <a:latin typeface="The Message"/>
            </a:endParaRPr>
          </a:p>
        </p:txBody>
      </p:sp>
      <p:graphicFrame>
        <p:nvGraphicFramePr>
          <p:cNvPr id="339" name="Table 338">
            <a:extLst>
              <a:ext uri="{FF2B5EF4-FFF2-40B4-BE49-F238E27FC236}">
                <a16:creationId xmlns:a16="http://schemas.microsoft.com/office/drawing/2014/main" id="{FC28B74A-ED7A-4C20-98FE-1230F42825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7633965"/>
              </p:ext>
            </p:extLst>
          </p:nvPr>
        </p:nvGraphicFramePr>
        <p:xfrm>
          <a:off x="6476301" y="785509"/>
          <a:ext cx="5406801" cy="37595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88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4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0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43371">
                  <a:extLst>
                    <a:ext uri="{9D8B030D-6E8A-4147-A177-3AD203B41FA5}">
                      <a16:colId xmlns:a16="http://schemas.microsoft.com/office/drawing/2014/main" val="1531279372"/>
                    </a:ext>
                  </a:extLst>
                </a:gridCol>
              </a:tblGrid>
              <a:tr h="407969"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DELIVERABLES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0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strike="noStrike" kern="1200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adline</a:t>
                      </a:r>
                      <a:endParaRPr lang="en-GB" sz="1000" b="1" strike="noStrike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0649" rtl="0" eaLnBrk="1" latinLnBrk="0" hangingPunct="1"/>
                      <a:r>
                        <a:rPr lang="en-GB" sz="1000" b="1" strike="noStrike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atus in %</a:t>
                      </a:r>
                    </a:p>
                  </a:txBody>
                  <a:tcPr marL="70339" marR="70339" marT="35170" marB="35170" anchor="b">
                    <a:lnL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0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mark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16778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Start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Project team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7-12-2020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69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Develop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API’s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31-1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rgbClr val="FFC000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ddink</a:t>
                      </a: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ll start in January and expects to be ready mid/end February (2/3 sprints)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Functional:</a:t>
                      </a:r>
                    </a:p>
                    <a:p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- Test scenarios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15-1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Technical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Adjusted API desig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Design additional API’s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</a:t>
                      </a: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(Usage,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results &amp; Progress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Design functionality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15-1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</a:t>
                      </a:r>
                      <a:r>
                        <a:rPr lang="en-GB" sz="1000" baseline="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8 December in project team meeting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435635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Design Mock-up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frontend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31-1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320651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Link API’s in acceptance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environment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28-2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s</a:t>
                      </a:r>
                      <a:r>
                        <a:rPr lang="en-GB" sz="1000" baseline="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 API development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7409386"/>
                  </a:ext>
                </a:extLst>
              </a:tr>
            </a:tbl>
          </a:graphicData>
        </a:graphic>
      </p:graphicFrame>
      <p:grpSp>
        <p:nvGrpSpPr>
          <p:cNvPr id="483" name="Group 482">
            <a:extLst>
              <a:ext uri="{FF2B5EF4-FFF2-40B4-BE49-F238E27FC236}">
                <a16:creationId xmlns:a16="http://schemas.microsoft.com/office/drawing/2014/main" id="{45EDC83E-D42A-4248-B12E-7E891557207E}"/>
              </a:ext>
            </a:extLst>
          </p:cNvPr>
          <p:cNvGrpSpPr/>
          <p:nvPr/>
        </p:nvGrpSpPr>
        <p:grpSpPr>
          <a:xfrm>
            <a:off x="9011668" y="174026"/>
            <a:ext cx="3086264" cy="403796"/>
            <a:chOff x="5337169" y="6385440"/>
            <a:chExt cx="3159417" cy="413329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328D25C7-AA51-42B2-9152-D00A7D3B8163}"/>
                </a:ext>
              </a:extLst>
            </p:cNvPr>
            <p:cNvGrpSpPr/>
            <p:nvPr/>
          </p:nvGrpSpPr>
          <p:grpSpPr>
            <a:xfrm>
              <a:off x="5338265" y="6602955"/>
              <a:ext cx="1521744" cy="195814"/>
              <a:chOff x="5814513" y="6488743"/>
              <a:chExt cx="1521744" cy="195814"/>
            </a:xfrm>
          </p:grpSpPr>
          <p:sp>
            <p:nvSpPr>
              <p:cNvPr id="494" name="Oval 493">
                <a:extLst>
                  <a:ext uri="{FF2B5EF4-FFF2-40B4-BE49-F238E27FC236}">
                    <a16:creationId xmlns:a16="http://schemas.microsoft.com/office/drawing/2014/main" id="{7E2139F1-72B6-4469-A8BA-3B7B8E0071BB}"/>
                  </a:ext>
                </a:extLst>
              </p:cNvPr>
              <p:cNvSpPr/>
              <p:nvPr/>
            </p:nvSpPr>
            <p:spPr>
              <a:xfrm>
                <a:off x="5814513" y="6496650"/>
                <a:ext cx="180000" cy="180000"/>
              </a:xfrm>
              <a:prstGeom prst="ellipse">
                <a:avLst/>
              </a:prstGeom>
              <a:solidFill>
                <a:srgbClr val="13A438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07268">
                  <a:defRPr/>
                </a:pPr>
                <a:endParaRPr lang="fi-FI" sz="782">
                  <a:solidFill>
                    <a:prstClr val="white"/>
                  </a:solidFill>
                  <a:latin typeface="The Message"/>
                </a:endParaRPr>
              </a:p>
            </p:txBody>
          </p:sp>
          <p:sp>
            <p:nvSpPr>
              <p:cNvPr id="495" name="TextBox 494">
                <a:extLst>
                  <a:ext uri="{FF2B5EF4-FFF2-40B4-BE49-F238E27FC236}">
                    <a16:creationId xmlns:a16="http://schemas.microsoft.com/office/drawing/2014/main" id="{2C648703-9669-4DBB-9C62-289314FAECB8}"/>
                  </a:ext>
                </a:extLst>
              </p:cNvPr>
              <p:cNvSpPr txBox="1"/>
              <p:nvPr/>
            </p:nvSpPr>
            <p:spPr>
              <a:xfrm>
                <a:off x="5994513" y="6488743"/>
                <a:ext cx="1341744" cy="195814"/>
              </a:xfrm>
              <a:prstGeom prst="rect">
                <a:avLst/>
              </a:prstGeom>
              <a:noFill/>
            </p:spPr>
            <p:txBody>
              <a:bodyPr wrap="square" lIns="35170" tIns="35170" rIns="35170" bIns="35170" rtlCol="0">
                <a:spAutoFit/>
              </a:bodyPr>
              <a:lstStyle/>
              <a:p>
                <a:pPr defTabSz="907268">
                  <a:defRPr/>
                </a:pPr>
                <a:r>
                  <a:rPr lang="en-GB" sz="782" dirty="0">
                    <a:solidFill>
                      <a:srgbClr val="4D4D4D"/>
                    </a:solidFill>
                    <a:latin typeface="The Message"/>
                  </a:rPr>
                  <a:t>Ongoing as planned/targeted</a:t>
                </a:r>
              </a:p>
            </p:txBody>
          </p:sp>
        </p:grpSp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7C25DD36-C979-41CC-BD87-DEC0B0F2815C}"/>
                </a:ext>
              </a:extLst>
            </p:cNvPr>
            <p:cNvGrpSpPr/>
            <p:nvPr/>
          </p:nvGrpSpPr>
          <p:grpSpPr>
            <a:xfrm>
              <a:off x="6932017" y="6385440"/>
              <a:ext cx="1348545" cy="195814"/>
              <a:chOff x="6843957" y="6488743"/>
              <a:chExt cx="1348545" cy="195814"/>
            </a:xfrm>
          </p:grpSpPr>
          <p:sp>
            <p:nvSpPr>
              <p:cNvPr id="492" name="Oval 491">
                <a:extLst>
                  <a:ext uri="{FF2B5EF4-FFF2-40B4-BE49-F238E27FC236}">
                    <a16:creationId xmlns:a16="http://schemas.microsoft.com/office/drawing/2014/main" id="{CD184ABA-FED4-4A3C-8A9D-981B1EA634AF}"/>
                  </a:ext>
                </a:extLst>
              </p:cNvPr>
              <p:cNvSpPr/>
              <p:nvPr/>
            </p:nvSpPr>
            <p:spPr>
              <a:xfrm>
                <a:off x="6843957" y="6496650"/>
                <a:ext cx="180000" cy="180000"/>
              </a:xfrm>
              <a:prstGeom prst="ellipse">
                <a:avLst/>
              </a:prstGeom>
              <a:solidFill>
                <a:srgbClr val="FFC000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07268">
                  <a:defRPr/>
                </a:pPr>
                <a:endParaRPr lang="fi-FI" sz="782">
                  <a:solidFill>
                    <a:prstClr val="white"/>
                  </a:solidFill>
                  <a:latin typeface="The Message"/>
                </a:endParaRPr>
              </a:p>
            </p:txBody>
          </p:sp>
          <p:sp>
            <p:nvSpPr>
              <p:cNvPr id="493" name="TextBox 492">
                <a:extLst>
                  <a:ext uri="{FF2B5EF4-FFF2-40B4-BE49-F238E27FC236}">
                    <a16:creationId xmlns:a16="http://schemas.microsoft.com/office/drawing/2014/main" id="{A603C805-8041-4B6B-90DF-BD12C2CD6E05}"/>
                  </a:ext>
                </a:extLst>
              </p:cNvPr>
              <p:cNvSpPr txBox="1"/>
              <p:nvPr/>
            </p:nvSpPr>
            <p:spPr>
              <a:xfrm>
                <a:off x="7023958" y="6488743"/>
                <a:ext cx="1168544" cy="195814"/>
              </a:xfrm>
              <a:prstGeom prst="rect">
                <a:avLst/>
              </a:prstGeom>
              <a:noFill/>
            </p:spPr>
            <p:txBody>
              <a:bodyPr wrap="square" lIns="35170" tIns="35170" rIns="35170" bIns="35170" rtlCol="0">
                <a:spAutoFit/>
              </a:bodyPr>
              <a:lstStyle/>
              <a:p>
                <a:pPr defTabSz="907268">
                  <a:defRPr/>
                </a:pPr>
                <a:r>
                  <a:rPr lang="en-GB" sz="782" dirty="0">
                    <a:solidFill>
                      <a:srgbClr val="4D4D4D"/>
                    </a:solidFill>
                    <a:latin typeface="The Message"/>
                  </a:rPr>
                  <a:t>Ongoing, some challenges</a:t>
                </a:r>
              </a:p>
            </p:txBody>
          </p:sp>
        </p:grpSp>
        <p:grpSp>
          <p:nvGrpSpPr>
            <p:cNvPr id="486" name="Group 485">
              <a:extLst>
                <a:ext uri="{FF2B5EF4-FFF2-40B4-BE49-F238E27FC236}">
                  <a16:creationId xmlns:a16="http://schemas.microsoft.com/office/drawing/2014/main" id="{B44BB55D-7034-44E2-A57E-AF4AFF0C1C76}"/>
                </a:ext>
              </a:extLst>
            </p:cNvPr>
            <p:cNvGrpSpPr/>
            <p:nvPr/>
          </p:nvGrpSpPr>
          <p:grpSpPr>
            <a:xfrm>
              <a:off x="6932017" y="6602955"/>
              <a:ext cx="1564569" cy="195814"/>
              <a:chOff x="7921079" y="6488743"/>
              <a:chExt cx="1564569" cy="195814"/>
            </a:xfrm>
          </p:grpSpPr>
          <p:sp>
            <p:nvSpPr>
              <p:cNvPr id="490" name="Oval 489">
                <a:extLst>
                  <a:ext uri="{FF2B5EF4-FFF2-40B4-BE49-F238E27FC236}">
                    <a16:creationId xmlns:a16="http://schemas.microsoft.com/office/drawing/2014/main" id="{1E4DC020-DC22-4CD0-868E-49F2A59A37A2}"/>
                  </a:ext>
                </a:extLst>
              </p:cNvPr>
              <p:cNvSpPr/>
              <p:nvPr/>
            </p:nvSpPr>
            <p:spPr>
              <a:xfrm>
                <a:off x="7921079" y="6496650"/>
                <a:ext cx="180000" cy="180000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07268">
                  <a:defRPr/>
                </a:pPr>
                <a:endParaRPr lang="fi-FI" sz="782">
                  <a:solidFill>
                    <a:prstClr val="white"/>
                  </a:solidFill>
                  <a:latin typeface="The Message"/>
                </a:endParaRPr>
              </a:p>
            </p:txBody>
          </p:sp>
          <p:sp>
            <p:nvSpPr>
              <p:cNvPr id="491" name="TextBox 490">
                <a:extLst>
                  <a:ext uri="{FF2B5EF4-FFF2-40B4-BE49-F238E27FC236}">
                    <a16:creationId xmlns:a16="http://schemas.microsoft.com/office/drawing/2014/main" id="{A5F14906-3490-4E66-825C-658AA0012C14}"/>
                  </a:ext>
                </a:extLst>
              </p:cNvPr>
              <p:cNvSpPr txBox="1"/>
              <p:nvPr/>
            </p:nvSpPr>
            <p:spPr>
              <a:xfrm>
                <a:off x="8101080" y="6488743"/>
                <a:ext cx="1384568" cy="195814"/>
              </a:xfrm>
              <a:prstGeom prst="rect">
                <a:avLst/>
              </a:prstGeom>
              <a:noFill/>
            </p:spPr>
            <p:txBody>
              <a:bodyPr wrap="square" lIns="35170" tIns="35170" rIns="35170" bIns="35170" rtlCol="0">
                <a:spAutoFit/>
              </a:bodyPr>
              <a:lstStyle/>
              <a:p>
                <a:pPr defTabSz="907268">
                  <a:defRPr/>
                </a:pPr>
                <a:r>
                  <a:rPr lang="en-GB" sz="782" dirty="0">
                    <a:solidFill>
                      <a:srgbClr val="4D4D4D"/>
                    </a:solidFill>
                    <a:latin typeface="The Message"/>
                  </a:rPr>
                  <a:t>Ongoing, significant challenges</a:t>
                </a:r>
              </a:p>
            </p:txBody>
          </p:sp>
        </p:grpSp>
        <p:grpSp>
          <p:nvGrpSpPr>
            <p:cNvPr id="487" name="Group 486">
              <a:extLst>
                <a:ext uri="{FF2B5EF4-FFF2-40B4-BE49-F238E27FC236}">
                  <a16:creationId xmlns:a16="http://schemas.microsoft.com/office/drawing/2014/main" id="{20073324-41C0-4E52-A072-DD4CE2F54D54}"/>
                </a:ext>
              </a:extLst>
            </p:cNvPr>
            <p:cNvGrpSpPr/>
            <p:nvPr/>
          </p:nvGrpSpPr>
          <p:grpSpPr>
            <a:xfrm>
              <a:off x="5337169" y="6385440"/>
              <a:ext cx="1291688" cy="195814"/>
              <a:chOff x="4843550" y="6488743"/>
              <a:chExt cx="1291688" cy="195814"/>
            </a:xfrm>
          </p:grpSpPr>
          <p:sp>
            <p:nvSpPr>
              <p:cNvPr id="488" name="Oval 487">
                <a:extLst>
                  <a:ext uri="{FF2B5EF4-FFF2-40B4-BE49-F238E27FC236}">
                    <a16:creationId xmlns:a16="http://schemas.microsoft.com/office/drawing/2014/main" id="{DF23E4CD-EE59-4BA0-B191-E4D5131CE627}"/>
                  </a:ext>
                </a:extLst>
              </p:cNvPr>
              <p:cNvSpPr/>
              <p:nvPr/>
            </p:nvSpPr>
            <p:spPr>
              <a:xfrm>
                <a:off x="4843550" y="6496650"/>
                <a:ext cx="180000" cy="180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07268">
                  <a:defRPr/>
                </a:pPr>
                <a:endParaRPr lang="fi-FI" sz="782">
                  <a:solidFill>
                    <a:prstClr val="white"/>
                  </a:solidFill>
                  <a:latin typeface="The Message"/>
                </a:endParaRPr>
              </a:p>
            </p:txBody>
          </p:sp>
          <p:sp>
            <p:nvSpPr>
              <p:cNvPr id="489" name="TextBox 488">
                <a:extLst>
                  <a:ext uri="{FF2B5EF4-FFF2-40B4-BE49-F238E27FC236}">
                    <a16:creationId xmlns:a16="http://schemas.microsoft.com/office/drawing/2014/main" id="{ED4005E5-4308-4E64-898B-135DEEAA38CB}"/>
                  </a:ext>
                </a:extLst>
              </p:cNvPr>
              <p:cNvSpPr txBox="1"/>
              <p:nvPr/>
            </p:nvSpPr>
            <p:spPr>
              <a:xfrm>
                <a:off x="5023550" y="6488743"/>
                <a:ext cx="1111688" cy="195814"/>
              </a:xfrm>
              <a:prstGeom prst="rect">
                <a:avLst/>
              </a:prstGeom>
              <a:noFill/>
            </p:spPr>
            <p:txBody>
              <a:bodyPr wrap="square" lIns="35170" tIns="35170" rIns="35170" bIns="35170" rtlCol="0">
                <a:spAutoFit/>
              </a:bodyPr>
              <a:lstStyle/>
              <a:p>
                <a:pPr defTabSz="907268">
                  <a:defRPr/>
                </a:pPr>
                <a:r>
                  <a:rPr lang="en-GB" sz="782" dirty="0">
                    <a:solidFill>
                      <a:srgbClr val="4D4D4D"/>
                    </a:solidFill>
                    <a:latin typeface="The Message"/>
                  </a:rPr>
                  <a:t>Not started/applicable</a:t>
                </a:r>
              </a:p>
            </p:txBody>
          </p:sp>
        </p:grpSp>
      </p:grpSp>
      <p:sp>
        <p:nvSpPr>
          <p:cNvPr id="121" name="Title 3">
            <a:extLst>
              <a:ext uri="{FF2B5EF4-FFF2-40B4-BE49-F238E27FC236}">
                <a16:creationId xmlns:a16="http://schemas.microsoft.com/office/drawing/2014/main" id="{ABF4B114-950B-4A02-A079-8338070E9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5" y="174026"/>
            <a:ext cx="6100092" cy="491631"/>
          </a:xfrm>
        </p:spPr>
        <p:txBody>
          <a:bodyPr anchor="ctr">
            <a:normAutofit fontScale="90000"/>
          </a:bodyPr>
          <a:lstStyle/>
          <a:p>
            <a:r>
              <a:rPr lang="en-GB" sz="1984" dirty="0">
                <a:solidFill>
                  <a:srgbClr val="13A438"/>
                </a:solidFill>
              </a:rPr>
              <a:t>Status update – </a:t>
            </a:r>
            <a:r>
              <a:rPr lang="en-GB" sz="1984" dirty="0" smtClean="0">
                <a:solidFill>
                  <a:srgbClr val="13A438"/>
                </a:solidFill>
              </a:rPr>
              <a:t>SEM Pilot: Proof of Concept</a:t>
            </a:r>
            <a:r>
              <a:rPr lang="en-GB" sz="1984" dirty="0">
                <a:solidFill>
                  <a:srgbClr val="0070C0"/>
                </a:solidFill>
              </a:rPr>
              <a:t/>
            </a:r>
            <a:br>
              <a:rPr lang="en-GB" sz="1984" dirty="0">
                <a:solidFill>
                  <a:srgbClr val="0070C0"/>
                </a:solidFill>
              </a:rPr>
            </a:br>
            <a:r>
              <a:rPr lang="en-GB" sz="1191" dirty="0" smtClean="0">
                <a:solidFill>
                  <a:schemeClr val="tx1"/>
                </a:solidFill>
              </a:rPr>
              <a:t>Project </a:t>
            </a:r>
            <a:r>
              <a:rPr lang="en-GB" sz="1191" dirty="0">
                <a:solidFill>
                  <a:schemeClr val="tx1"/>
                </a:solidFill>
              </a:rPr>
              <a:t>lead: </a:t>
            </a:r>
            <a:r>
              <a:rPr lang="nl-NL" sz="1191" dirty="0" smtClean="0">
                <a:solidFill>
                  <a:srgbClr val="212121"/>
                </a:solidFill>
              </a:rPr>
              <a:t>Marcel Untied</a:t>
            </a:r>
            <a:r>
              <a:rPr lang="nl-NL" sz="1191" dirty="0">
                <a:solidFill>
                  <a:srgbClr val="212121"/>
                </a:solidFill>
              </a:rPr>
              <a:t>	</a:t>
            </a:r>
            <a:r>
              <a:rPr lang="en-GB" sz="1191" dirty="0">
                <a:solidFill>
                  <a:schemeClr val="tx1"/>
                </a:solidFill>
              </a:rPr>
              <a:t>	Date: </a:t>
            </a:r>
            <a:r>
              <a:rPr lang="en-GB" sz="1191" dirty="0" smtClean="0">
                <a:solidFill>
                  <a:schemeClr val="tx1"/>
                </a:solidFill>
              </a:rPr>
              <a:t>December 11</a:t>
            </a:r>
            <a:r>
              <a:rPr lang="en-GB" sz="1191" baseline="30000" dirty="0" smtClean="0">
                <a:solidFill>
                  <a:schemeClr val="tx1"/>
                </a:solidFill>
              </a:rPr>
              <a:t>th</a:t>
            </a:r>
            <a:r>
              <a:rPr lang="en-GB" sz="1191" dirty="0" smtClean="0">
                <a:solidFill>
                  <a:schemeClr val="tx1"/>
                </a:solidFill>
              </a:rPr>
              <a:t> </a:t>
            </a:r>
            <a:r>
              <a:rPr lang="en-GB" sz="1191" dirty="0">
                <a:solidFill>
                  <a:schemeClr val="tx1"/>
                </a:solidFill>
              </a:rPr>
              <a:t>2020</a:t>
            </a:r>
            <a:endParaRPr lang="en-GB" sz="1191" b="0" dirty="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CC0A64-8EF2-40FE-8A0C-5F97C672C85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62346" y="6638063"/>
            <a:ext cx="1289804" cy="142892"/>
          </a:xfrm>
        </p:spPr>
        <p:txBody>
          <a:bodyPr/>
          <a:lstStyle/>
          <a:p>
            <a:pPr defTabSz="907268">
              <a:defRPr/>
            </a:pPr>
            <a:r>
              <a:rPr lang="en-US" dirty="0">
                <a:latin typeface="The Message"/>
              </a:rPr>
              <a:t>date</a:t>
            </a:r>
            <a:endParaRPr lang="fi-FI" dirty="0">
              <a:latin typeface="The Message"/>
            </a:endParaRPr>
          </a:p>
        </p:txBody>
      </p:sp>
      <p:graphicFrame>
        <p:nvGraphicFramePr>
          <p:cNvPr id="112" name="Table 111">
            <a:extLst>
              <a:ext uri="{FF2B5EF4-FFF2-40B4-BE49-F238E27FC236}">
                <a16:creationId xmlns:a16="http://schemas.microsoft.com/office/drawing/2014/main" id="{080C397C-972A-4F15-98DB-2611486330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2811003"/>
              </p:ext>
            </p:extLst>
          </p:nvPr>
        </p:nvGraphicFramePr>
        <p:xfrm>
          <a:off x="273265" y="785509"/>
          <a:ext cx="2991982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919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Summary update</a:t>
                      </a:r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3" name="Rectangle 112">
            <a:extLst>
              <a:ext uri="{FF2B5EF4-FFF2-40B4-BE49-F238E27FC236}">
                <a16:creationId xmlns:a16="http://schemas.microsoft.com/office/drawing/2014/main" id="{D7D74973-44BE-4CF5-9D0C-6222B8F22FA7}"/>
              </a:ext>
            </a:extLst>
          </p:cNvPr>
          <p:cNvSpPr/>
          <p:nvPr/>
        </p:nvSpPr>
        <p:spPr>
          <a:xfrm>
            <a:off x="269520" y="1068440"/>
            <a:ext cx="2995727" cy="1158413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0113" indent="-170113" defTabSz="907268">
              <a:buFont typeface="Arial" panose="020B0604020202020204" pitchFamily="34" charset="0"/>
              <a:buChar char="•"/>
              <a:defRPr/>
            </a:pPr>
            <a:endParaRPr lang="nl-NL" sz="992" dirty="0">
              <a:solidFill>
                <a:srgbClr val="212121"/>
              </a:solidFill>
              <a:latin typeface="The Message"/>
            </a:endParaRPr>
          </a:p>
        </p:txBody>
      </p:sp>
      <p:graphicFrame>
        <p:nvGraphicFramePr>
          <p:cNvPr id="79" name="Table 111">
            <a:extLst>
              <a:ext uri="{FF2B5EF4-FFF2-40B4-BE49-F238E27FC236}">
                <a16:creationId xmlns:a16="http://schemas.microsoft.com/office/drawing/2014/main" id="{00BA21E2-9B31-B14D-8C38-FBD26C78F9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563668"/>
              </p:ext>
            </p:extLst>
          </p:nvPr>
        </p:nvGraphicFramePr>
        <p:xfrm>
          <a:off x="3384496" y="785509"/>
          <a:ext cx="2988861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888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Highlights and key learnings</a:t>
                      </a:r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0" name="Rectangle 112">
            <a:extLst>
              <a:ext uri="{FF2B5EF4-FFF2-40B4-BE49-F238E27FC236}">
                <a16:creationId xmlns:a16="http://schemas.microsoft.com/office/drawing/2014/main" id="{EBC2D07A-92F5-9440-A6EC-F55E1D2751C4}"/>
              </a:ext>
            </a:extLst>
          </p:cNvPr>
          <p:cNvSpPr/>
          <p:nvPr/>
        </p:nvSpPr>
        <p:spPr>
          <a:xfrm>
            <a:off x="3381063" y="1068440"/>
            <a:ext cx="2992294" cy="1158413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7268">
              <a:defRPr/>
            </a:pPr>
            <a:endParaRPr lang="en-GB" sz="992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2" name="Table 28">
            <a:extLst>
              <a:ext uri="{FF2B5EF4-FFF2-40B4-BE49-F238E27FC236}">
                <a16:creationId xmlns:a16="http://schemas.microsoft.com/office/drawing/2014/main" id="{D2D0A6DB-B8C1-8640-8490-062FC590C7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5727752"/>
              </p:ext>
            </p:extLst>
          </p:nvPr>
        </p:nvGraphicFramePr>
        <p:xfrm>
          <a:off x="3379801" y="4963501"/>
          <a:ext cx="8501675" cy="17337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078">
                  <a:extLst>
                    <a:ext uri="{9D8B030D-6E8A-4147-A177-3AD203B41FA5}">
                      <a16:colId xmlns:a16="http://schemas.microsoft.com/office/drawing/2014/main" val="714464013"/>
                    </a:ext>
                  </a:extLst>
                </a:gridCol>
                <a:gridCol w="2334159">
                  <a:extLst>
                    <a:ext uri="{9D8B030D-6E8A-4147-A177-3AD203B41FA5}">
                      <a16:colId xmlns:a16="http://schemas.microsoft.com/office/drawing/2014/main" val="4071030649"/>
                    </a:ext>
                  </a:extLst>
                </a:gridCol>
                <a:gridCol w="714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7605">
                  <a:extLst>
                    <a:ext uri="{9D8B030D-6E8A-4147-A177-3AD203B41FA5}">
                      <a16:colId xmlns:a16="http://schemas.microsoft.com/office/drawing/2014/main" val="2220929474"/>
                    </a:ext>
                  </a:extLst>
                </a:gridCol>
                <a:gridCol w="2261900">
                  <a:extLst>
                    <a:ext uri="{9D8B030D-6E8A-4147-A177-3AD203B41FA5}">
                      <a16:colId xmlns:a16="http://schemas.microsoft.com/office/drawing/2014/main" val="1531279372"/>
                    </a:ext>
                  </a:extLst>
                </a:gridCol>
                <a:gridCol w="665551">
                  <a:extLst>
                    <a:ext uri="{9D8B030D-6E8A-4147-A177-3AD203B41FA5}">
                      <a16:colId xmlns:a16="http://schemas.microsoft.com/office/drawing/2014/main" val="2329772648"/>
                    </a:ext>
                  </a:extLst>
                </a:gridCol>
                <a:gridCol w="785903">
                  <a:extLst>
                    <a:ext uri="{9D8B030D-6E8A-4147-A177-3AD203B41FA5}">
                      <a16:colId xmlns:a16="http://schemas.microsoft.com/office/drawing/2014/main" val="1323303308"/>
                    </a:ext>
                  </a:extLst>
                </a:gridCol>
                <a:gridCol w="1286022">
                  <a:extLst>
                    <a:ext uri="{9D8B030D-6E8A-4147-A177-3AD203B41FA5}">
                      <a16:colId xmlns:a16="http://schemas.microsoft.com/office/drawing/2014/main" val="1563602295"/>
                    </a:ext>
                  </a:extLst>
                </a:gridCol>
              </a:tblGrid>
              <a:tr h="340450"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#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Description Risk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Impact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70000"/>
                        </a:lnSpc>
                      </a:pPr>
                      <a:endParaRPr lang="en-GB" sz="1000" b="1" strike="noStrike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339" marR="70339" marT="35170" marB="3517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Mitigation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Due date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Owner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Status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3659">
                <a:tc>
                  <a:txBody>
                    <a:bodyPr/>
                    <a:lstStyle/>
                    <a:p>
                      <a:r>
                        <a:rPr lang="en-GB" sz="1000" b="0" noProof="0" dirty="0">
                          <a:solidFill>
                            <a:schemeClr val="bg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ecution</a:t>
                      </a:r>
                      <a:r>
                        <a:rPr lang="en-GB" sz="1000" baseline="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C phase (February) not according to (concept) planning</a:t>
                      </a:r>
                      <a:endParaRPr lang="en-GB" sz="1000" noProof="0" dirty="0">
                        <a:solidFill>
                          <a:srgbClr val="21212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39" marR="70339" marT="35170" marB="35170" anchor="ctr"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ve</a:t>
                      </a:r>
                      <a:r>
                        <a:rPr lang="en-GB" sz="1000" baseline="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execution to march and evaluation to April (possible risk resources PSS) </a:t>
                      </a:r>
                      <a:endParaRPr lang="en-GB" sz="1000" noProof="0" dirty="0">
                        <a:solidFill>
                          <a:srgbClr val="21212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0029" marR="90029" marT="45015" marB="45015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15-1-2021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Marchien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Planned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6079">
                <a:tc>
                  <a:txBody>
                    <a:bodyPr/>
                    <a:lstStyle/>
                    <a:p>
                      <a:r>
                        <a:rPr lang="en-GB" sz="1000" b="0" noProof="0" dirty="0">
                          <a:solidFill>
                            <a:schemeClr val="bg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C</a:t>
                      </a:r>
                      <a:r>
                        <a:rPr lang="en-GB" sz="1000" baseline="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ll not deliver the desired information to make decisions on next steps</a:t>
                      </a:r>
                      <a:endParaRPr lang="en-GB" sz="1000" noProof="0" dirty="0">
                        <a:solidFill>
                          <a:srgbClr val="21212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39" marR="70339" marT="35170" marB="35170" anchor="ctr"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00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ke clear how</a:t>
                      </a:r>
                      <a:r>
                        <a:rPr lang="en-GB" sz="1000" baseline="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esults are shared during demo’s and board meetings and share approach with stake holders (mock-up) frontend</a:t>
                      </a:r>
                      <a:endParaRPr lang="en-GB" sz="1000" noProof="0" dirty="0">
                        <a:solidFill>
                          <a:srgbClr val="21212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0029" marR="90029" marT="45015" marB="45015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31-1-2021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Marchien/Marcel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nned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5" name="Table 111">
            <a:extLst>
              <a:ext uri="{FF2B5EF4-FFF2-40B4-BE49-F238E27FC236}">
                <a16:creationId xmlns:a16="http://schemas.microsoft.com/office/drawing/2014/main" id="{0F363264-146B-7143-A4E2-BF9F60506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4294701"/>
              </p:ext>
            </p:extLst>
          </p:nvPr>
        </p:nvGraphicFramePr>
        <p:xfrm>
          <a:off x="268577" y="5006124"/>
          <a:ext cx="2991971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91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Decisions needed from </a:t>
                      </a:r>
                      <a:r>
                        <a:rPr lang="en-GB" sz="1200" dirty="0" err="1" smtClean="0"/>
                        <a:t>Steerco</a:t>
                      </a:r>
                      <a:endParaRPr lang="en-GB" sz="1200" dirty="0"/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6" name="Rectangle 112">
            <a:extLst>
              <a:ext uri="{FF2B5EF4-FFF2-40B4-BE49-F238E27FC236}">
                <a16:creationId xmlns:a16="http://schemas.microsoft.com/office/drawing/2014/main" id="{00F45228-BE92-C74E-B890-099E37029FE8}"/>
              </a:ext>
            </a:extLst>
          </p:cNvPr>
          <p:cNvSpPr/>
          <p:nvPr/>
        </p:nvSpPr>
        <p:spPr>
          <a:xfrm>
            <a:off x="264820" y="5305290"/>
            <a:ext cx="2995727" cy="1052825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7268">
              <a:defRPr/>
            </a:pPr>
            <a:endParaRPr lang="en-GB" sz="1173" noProof="1">
              <a:solidFill>
                <a:prstClr val="black"/>
              </a:solidFill>
              <a:latin typeface="The Message"/>
            </a:endParaRPr>
          </a:p>
        </p:txBody>
      </p:sp>
      <p:graphicFrame>
        <p:nvGraphicFramePr>
          <p:cNvPr id="88" name="Table 111">
            <a:extLst>
              <a:ext uri="{FF2B5EF4-FFF2-40B4-BE49-F238E27FC236}">
                <a16:creationId xmlns:a16="http://schemas.microsoft.com/office/drawing/2014/main" id="{B5BC2F44-8067-9A45-9B9C-A900A67716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620559"/>
              </p:ext>
            </p:extLst>
          </p:nvPr>
        </p:nvGraphicFramePr>
        <p:xfrm>
          <a:off x="268565" y="2337076"/>
          <a:ext cx="2991982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919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Completed activities</a:t>
                      </a:r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0" name="Rectangle 112">
            <a:extLst>
              <a:ext uri="{FF2B5EF4-FFF2-40B4-BE49-F238E27FC236}">
                <a16:creationId xmlns:a16="http://schemas.microsoft.com/office/drawing/2014/main" id="{5E7A6136-2D64-DB41-BDC1-10EACB32185E}"/>
              </a:ext>
            </a:extLst>
          </p:cNvPr>
          <p:cNvSpPr/>
          <p:nvPr/>
        </p:nvSpPr>
        <p:spPr>
          <a:xfrm>
            <a:off x="264820" y="2620008"/>
            <a:ext cx="2995727" cy="2292129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7268">
              <a:defRPr/>
            </a:pPr>
            <a:endParaRPr lang="nl-NL" sz="992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94" name="Table 111">
            <a:extLst>
              <a:ext uri="{FF2B5EF4-FFF2-40B4-BE49-F238E27FC236}">
                <a16:creationId xmlns:a16="http://schemas.microsoft.com/office/drawing/2014/main" id="{8A755CB2-960A-B34D-9B70-3D334BC5FB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520594"/>
              </p:ext>
            </p:extLst>
          </p:nvPr>
        </p:nvGraphicFramePr>
        <p:xfrm>
          <a:off x="3389489" y="2340905"/>
          <a:ext cx="2992294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922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Planned activities</a:t>
                      </a:r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6" name="Rectangle 112">
            <a:extLst>
              <a:ext uri="{FF2B5EF4-FFF2-40B4-BE49-F238E27FC236}">
                <a16:creationId xmlns:a16="http://schemas.microsoft.com/office/drawing/2014/main" id="{FEE0BC48-B1F9-4F47-B140-9EF43CB87036}"/>
              </a:ext>
            </a:extLst>
          </p:cNvPr>
          <p:cNvSpPr/>
          <p:nvPr/>
        </p:nvSpPr>
        <p:spPr>
          <a:xfrm>
            <a:off x="3386056" y="2623836"/>
            <a:ext cx="2995727" cy="2288301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0113" indent="-170113" defTabSz="865915">
              <a:buFont typeface="Arial" panose="020B0604020202020204" pitchFamily="34" charset="0"/>
              <a:buChar char="•"/>
              <a:defRPr/>
            </a:pPr>
            <a:endParaRPr lang="nl-NL" sz="992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00" name="Tekstvak 99">
            <a:extLst>
              <a:ext uri="{FF2B5EF4-FFF2-40B4-BE49-F238E27FC236}">
                <a16:creationId xmlns:a16="http://schemas.microsoft.com/office/drawing/2014/main" id="{ADC4ECAD-4EA1-BE4A-BB57-9631313F481B}"/>
              </a:ext>
            </a:extLst>
          </p:cNvPr>
          <p:cNvSpPr txBox="1"/>
          <p:nvPr/>
        </p:nvSpPr>
        <p:spPr>
          <a:xfrm>
            <a:off x="4166966" y="6641919"/>
            <a:ext cx="2071925" cy="209554"/>
          </a:xfrm>
          <a:prstGeom prst="rect">
            <a:avLst/>
          </a:prstGeom>
          <a:noFill/>
        </p:spPr>
        <p:txBody>
          <a:bodyPr wrap="square" lIns="35719" tIns="35719" rIns="35719" bIns="35719" rtlCol="0">
            <a:spAutoFit/>
          </a:bodyPr>
          <a:lstStyle/>
          <a:p>
            <a:pPr defTabSz="907268">
              <a:defRPr/>
            </a:pPr>
            <a:r>
              <a:rPr lang="en-GB" sz="893" i="1" spc="-40" dirty="0">
                <a:solidFill>
                  <a:prstClr val="white">
                    <a:lumMod val="50000"/>
                  </a:prstClr>
                </a:solidFill>
                <a:latin typeface="The Message"/>
              </a:rPr>
              <a:t>*</a:t>
            </a:r>
          </a:p>
        </p:txBody>
      </p:sp>
      <p:sp>
        <p:nvSpPr>
          <p:cNvPr id="4" name="Tekstvak 3"/>
          <p:cNvSpPr txBox="1"/>
          <p:nvPr/>
        </p:nvSpPr>
        <p:spPr>
          <a:xfrm>
            <a:off x="273265" y="1084676"/>
            <a:ext cx="2987282" cy="116955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400" dirty="0" smtClean="0"/>
              <a:t>Project team started</a:t>
            </a:r>
          </a:p>
          <a:p>
            <a:pPr marL="285750" indent="-285750">
              <a:buFontTx/>
              <a:buChar char="-"/>
            </a:pPr>
            <a:r>
              <a:rPr lang="en-GB" sz="1400" dirty="0" smtClean="0"/>
              <a:t>Development API’s started</a:t>
            </a:r>
          </a:p>
          <a:p>
            <a:pPr marL="285750" indent="-285750">
              <a:buFontTx/>
              <a:buChar char="-"/>
            </a:pPr>
            <a:r>
              <a:rPr lang="en-GB" sz="1400" dirty="0" err="1" smtClean="0"/>
              <a:t>Iddink</a:t>
            </a:r>
            <a:r>
              <a:rPr lang="en-GB" sz="1400" dirty="0" smtClean="0"/>
              <a:t> will start </a:t>
            </a:r>
            <a:r>
              <a:rPr lang="en-GB" sz="1400" dirty="0" smtClean="0"/>
              <a:t>developing in </a:t>
            </a:r>
            <a:r>
              <a:rPr lang="en-GB" sz="1400" dirty="0" smtClean="0"/>
              <a:t>January (2nd half)</a:t>
            </a:r>
          </a:p>
          <a:p>
            <a:pPr marL="285750" indent="-285750">
              <a:buFontTx/>
              <a:buChar char="-"/>
            </a:pPr>
            <a:r>
              <a:rPr lang="en-GB" sz="1400" dirty="0" smtClean="0"/>
              <a:t>Participation </a:t>
            </a:r>
            <a:r>
              <a:rPr lang="en-GB" sz="1400" dirty="0" err="1" smtClean="0"/>
              <a:t>Thieme</a:t>
            </a:r>
            <a:r>
              <a:rPr lang="en-GB" sz="1400" dirty="0" smtClean="0"/>
              <a:t> still unclear	</a:t>
            </a:r>
            <a:endParaRPr lang="en-GB" sz="1400" dirty="0"/>
          </a:p>
        </p:txBody>
      </p:sp>
      <p:sp>
        <p:nvSpPr>
          <p:cNvPr id="37" name="Tekstvak 36"/>
          <p:cNvSpPr txBox="1"/>
          <p:nvPr/>
        </p:nvSpPr>
        <p:spPr>
          <a:xfrm>
            <a:off x="3412947" y="1084676"/>
            <a:ext cx="2968836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600" dirty="0" smtClean="0"/>
              <a:t>Scope of the demo: Work with (mock-up) frontend to show how ecosystem works</a:t>
            </a:r>
          </a:p>
          <a:p>
            <a:endParaRPr lang="nl-NL" sz="1600" dirty="0" smtClean="0"/>
          </a:p>
        </p:txBody>
      </p:sp>
      <p:sp>
        <p:nvSpPr>
          <p:cNvPr id="38" name="Oval 491">
            <a:extLst>
              <a:ext uri="{FF2B5EF4-FFF2-40B4-BE49-F238E27FC236}">
                <a16:creationId xmlns:a16="http://schemas.microsoft.com/office/drawing/2014/main" id="{CD184ABA-FED4-4A3C-8A9D-981B1EA634AF}"/>
              </a:ext>
            </a:extLst>
          </p:cNvPr>
          <p:cNvSpPr/>
          <p:nvPr/>
        </p:nvSpPr>
        <p:spPr>
          <a:xfrm>
            <a:off x="3005712" y="828307"/>
            <a:ext cx="175832" cy="17584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07268">
              <a:defRPr/>
            </a:pPr>
            <a:endParaRPr lang="fi-FI" sz="782">
              <a:solidFill>
                <a:prstClr val="white"/>
              </a:solidFill>
              <a:latin typeface="The Message"/>
            </a:endParaRPr>
          </a:p>
        </p:txBody>
      </p:sp>
      <p:sp>
        <p:nvSpPr>
          <p:cNvPr id="39" name="Tekstvak 38"/>
          <p:cNvSpPr txBox="1"/>
          <p:nvPr/>
        </p:nvSpPr>
        <p:spPr>
          <a:xfrm>
            <a:off x="268565" y="2629636"/>
            <a:ext cx="2968836" cy="206210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600" dirty="0" smtClean="0"/>
              <a:t>First Project Team meeting</a:t>
            </a:r>
          </a:p>
          <a:p>
            <a:pPr marL="742950" lvl="1" indent="-285750">
              <a:buFontTx/>
              <a:buChar char="-"/>
            </a:pPr>
            <a:r>
              <a:rPr lang="en-GB" sz="1600" dirty="0" smtClean="0">
                <a:hlinkClick r:id="rId8"/>
              </a:rPr>
              <a:t>Notes 4 December</a:t>
            </a:r>
            <a:endParaRPr lang="en-GB" sz="1600" dirty="0" smtClean="0"/>
          </a:p>
          <a:p>
            <a:pPr marL="285750" indent="-285750">
              <a:buFontTx/>
              <a:buChar char="-"/>
            </a:pPr>
            <a:r>
              <a:rPr lang="en-GB" sz="1600" dirty="0" smtClean="0"/>
              <a:t>Actions (deliverables) assigned to project team members</a:t>
            </a:r>
          </a:p>
          <a:p>
            <a:pPr marL="285750" indent="-285750">
              <a:buFontTx/>
              <a:buChar char="-"/>
            </a:pPr>
            <a:r>
              <a:rPr lang="en-GB" sz="1600" dirty="0" smtClean="0"/>
              <a:t>Pilot team meetings planned till end of February (every two weeks)</a:t>
            </a:r>
          </a:p>
        </p:txBody>
      </p:sp>
      <p:sp>
        <p:nvSpPr>
          <p:cNvPr id="40" name="Tekstvak 39"/>
          <p:cNvSpPr txBox="1"/>
          <p:nvPr/>
        </p:nvSpPr>
        <p:spPr>
          <a:xfrm>
            <a:off x="3399501" y="2627930"/>
            <a:ext cx="2968836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600" dirty="0" smtClean="0"/>
              <a:t>Determine </a:t>
            </a:r>
            <a:r>
              <a:rPr lang="en-GB" sz="1600" dirty="0" err="1" smtClean="0"/>
              <a:t>testscenario’s</a:t>
            </a:r>
            <a:endParaRPr lang="en-GB" sz="1600" dirty="0" smtClean="0"/>
          </a:p>
          <a:p>
            <a:pPr marL="285750" indent="-285750">
              <a:buFontTx/>
              <a:buChar char="-"/>
            </a:pPr>
            <a:r>
              <a:rPr lang="en-GB" sz="1600" dirty="0" smtClean="0"/>
              <a:t>Adjusted API designs (Entitlement, Catalogue)</a:t>
            </a:r>
          </a:p>
          <a:p>
            <a:pPr marL="285750" indent="-285750">
              <a:buFontTx/>
              <a:buChar char="-"/>
            </a:pPr>
            <a:r>
              <a:rPr lang="en-GB" sz="1600" dirty="0" smtClean="0"/>
              <a:t>Design Setup functionality</a:t>
            </a:r>
          </a:p>
          <a:p>
            <a:pPr marL="285750" indent="-285750">
              <a:buFontTx/>
              <a:buChar char="-"/>
            </a:pPr>
            <a:r>
              <a:rPr lang="en-GB" sz="1600" dirty="0" smtClean="0"/>
              <a:t>Design Results &amp; Progress API</a:t>
            </a:r>
          </a:p>
          <a:p>
            <a:pPr marL="285750" indent="-285750">
              <a:buFontTx/>
              <a:buChar char="-"/>
            </a:pPr>
            <a:r>
              <a:rPr lang="en-GB" sz="1600" dirty="0" smtClean="0"/>
              <a:t>Design Usage API</a:t>
            </a:r>
          </a:p>
        </p:txBody>
      </p:sp>
      <p:sp>
        <p:nvSpPr>
          <p:cNvPr id="41" name="Tekstvak 40"/>
          <p:cNvSpPr txBox="1"/>
          <p:nvPr/>
        </p:nvSpPr>
        <p:spPr>
          <a:xfrm>
            <a:off x="273265" y="5313238"/>
            <a:ext cx="2968836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600" dirty="0" smtClean="0"/>
              <a:t>No decisions needed, but planning has to be discussed</a:t>
            </a:r>
          </a:p>
        </p:txBody>
      </p:sp>
    </p:spTree>
    <p:extLst>
      <p:ext uri="{BB962C8B-B14F-4D97-AF65-F5344CB8AC3E}">
        <p14:creationId xmlns:p14="http://schemas.microsoft.com/office/powerpoint/2010/main" val="2507584177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IddDxKrL41cW5LmOsi5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56</TotalTime>
  <Words>309</Words>
  <Application>Microsoft Office PowerPoint</Application>
  <PresentationFormat>Breedbeeld</PresentationFormat>
  <Paragraphs>76</Paragraphs>
  <Slides>2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he Message</vt:lpstr>
      <vt:lpstr>Office Theme</vt:lpstr>
      <vt:lpstr>think-cell Slide</vt:lpstr>
      <vt:lpstr>Update Steering Committee</vt:lpstr>
      <vt:lpstr>Status update – SEM Pilot: Proof of Concept Project lead: Marcel Untied  Date: December 11th 2020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arcel Untied</cp:lastModifiedBy>
  <cp:revision>517</cp:revision>
  <dcterms:created xsi:type="dcterms:W3CDTF">2020-04-21T09:43:53Z</dcterms:created>
  <dcterms:modified xsi:type="dcterms:W3CDTF">2020-12-11T08:38:54Z</dcterms:modified>
</cp:coreProperties>
</file>